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</p:sldMasterIdLst>
  <p:notesMasterIdLst>
    <p:notesMasterId r:id="rId11"/>
  </p:notesMasterIdLst>
  <p:handoutMasterIdLst>
    <p:handoutMasterId r:id="rId12"/>
  </p:handoutMasterIdLst>
  <p:sldIdLst>
    <p:sldId id="3844" r:id="rId5"/>
    <p:sldId id="3867" r:id="rId6"/>
    <p:sldId id="3864" r:id="rId7"/>
    <p:sldId id="3865" r:id="rId8"/>
    <p:sldId id="3866" r:id="rId9"/>
    <p:sldId id="3868" r:id="rId10"/>
  </p:sldIdLst>
  <p:sldSz cx="9906000" cy="6858000" type="A4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40">
          <p15:clr>
            <a:srgbClr val="A4A3A4"/>
          </p15:clr>
        </p15:guide>
        <p15:guide id="2" orient="horz" pos="981" userDrawn="1">
          <p15:clr>
            <a:srgbClr val="A4A3A4"/>
          </p15:clr>
        </p15:guide>
        <p15:guide id="3" orient="horz" pos="1298" userDrawn="1">
          <p15:clr>
            <a:srgbClr val="A4A3A4"/>
          </p15:clr>
        </p15:guide>
        <p15:guide id="4" pos="243">
          <p15:clr>
            <a:srgbClr val="A4A3A4"/>
          </p15:clr>
        </p15:guide>
        <p15:guide id="5" pos="6006">
          <p15:clr>
            <a:srgbClr val="A4A3A4"/>
          </p15:clr>
        </p15:guide>
        <p15:guide id="6" pos="3120">
          <p15:clr>
            <a:srgbClr val="A4A3A4"/>
          </p15:clr>
        </p15:guide>
        <p15:guide id="7" pos="17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3273"/>
    <a:srgbClr val="F96F07"/>
    <a:srgbClr val="67BB6E"/>
    <a:srgbClr val="FFE281"/>
    <a:srgbClr val="BFBFBF"/>
    <a:srgbClr val="404040"/>
    <a:srgbClr val="E5E5E5"/>
    <a:srgbClr val="CD0032"/>
    <a:srgbClr val="B3B3B3"/>
    <a:srgbClr val="384B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64A28C-779D-BB35-10FC-CC4D589C28A9}" v="56" dt="2026-04-08T04:24:25.139"/>
    <p1510:client id="{8CB2B65B-0772-0B12-F46F-3DBE99FEC8BE}" v="13" dt="2026-04-08T08:47:25.399"/>
    <p1510:client id="{C5A1E577-74BB-3BEE-A6AF-76B7CDBC4E9A}" v="7" dt="2026-04-09T00:48:36.243"/>
    <p1510:client id="{F7623663-5F3B-171A-50AE-AA4107C139DB}" v="13" dt="2026-04-07T09:48:32.0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/>
    <p:restoredTop sz="94722"/>
  </p:normalViewPr>
  <p:slideViewPr>
    <p:cSldViewPr snapToGrid="0">
      <p:cViewPr varScale="1">
        <p:scale>
          <a:sx n="118" d="100"/>
          <a:sy n="118" d="100"/>
        </p:scale>
        <p:origin x="1664" y="208"/>
      </p:cViewPr>
      <p:guideLst>
        <p:guide orient="horz" pos="3940"/>
        <p:guide orient="horz" pos="981"/>
        <p:guide orient="horz" pos="1298"/>
        <p:guide pos="243"/>
        <p:guide pos="6006"/>
        <p:guide pos="3120"/>
        <p:guide pos="171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bota Nichika" userId="S::kubota.n@lefixea.com::8fb0ef68-18aa-4d1b-b018-3b48622e93e2" providerId="AD" clId="Web-{0364A28C-779D-BB35-10FC-CC4D589C28A9}"/>
    <pc:docChg chg="modSld">
      <pc:chgData name="Kubota Nichika" userId="S::kubota.n@lefixea.com::8fb0ef68-18aa-4d1b-b018-3b48622e93e2" providerId="AD" clId="Web-{0364A28C-779D-BB35-10FC-CC4D589C28A9}" dt="2026-04-08T04:24:25.139" v="55" actId="1076"/>
      <pc:docMkLst>
        <pc:docMk/>
      </pc:docMkLst>
      <pc:sldChg chg="addSp delSp modSp">
        <pc:chgData name="Kubota Nichika" userId="S::kubota.n@lefixea.com::8fb0ef68-18aa-4d1b-b018-3b48622e93e2" providerId="AD" clId="Web-{0364A28C-779D-BB35-10FC-CC4D589C28A9}" dt="2026-04-08T04:24:25.139" v="55" actId="1076"/>
        <pc:sldMkLst>
          <pc:docMk/>
          <pc:sldMk cId="549827552" sldId="3864"/>
        </pc:sldMkLst>
        <pc:spChg chg="ord">
          <ac:chgData name="Kubota Nichika" userId="S::kubota.n@lefixea.com::8fb0ef68-18aa-4d1b-b018-3b48622e93e2" providerId="AD" clId="Web-{0364A28C-779D-BB35-10FC-CC4D589C28A9}" dt="2026-04-08T04:21:21.114" v="31"/>
          <ac:spMkLst>
            <pc:docMk/>
            <pc:sldMk cId="549827552" sldId="3864"/>
            <ac:spMk id="10" creationId="{146D363F-D666-37AE-7FA2-093759C4C60F}"/>
          </ac:spMkLst>
        </pc:spChg>
        <pc:picChg chg="add del mod">
          <ac:chgData name="Kubota Nichika" userId="S::kubota.n@lefixea.com::8fb0ef68-18aa-4d1b-b018-3b48622e93e2" providerId="AD" clId="Web-{0364A28C-779D-BB35-10FC-CC4D589C28A9}" dt="2026-04-08T04:24:19.077" v="52"/>
          <ac:picMkLst>
            <pc:docMk/>
            <pc:sldMk cId="549827552" sldId="3864"/>
            <ac:picMk id="6" creationId="{B2E36140-024C-C0D5-B8A7-8B77BD679BD8}"/>
          </ac:picMkLst>
        </pc:picChg>
        <pc:picChg chg="add mod">
          <ac:chgData name="Kubota Nichika" userId="S::kubota.n@lefixea.com::8fb0ef68-18aa-4d1b-b018-3b48622e93e2" providerId="AD" clId="Web-{0364A28C-779D-BB35-10FC-CC4D589C28A9}" dt="2026-04-08T04:21:16.942" v="30" actId="14100"/>
          <ac:picMkLst>
            <pc:docMk/>
            <pc:sldMk cId="549827552" sldId="3864"/>
            <ac:picMk id="7" creationId="{9D3B56FB-0206-2F09-6F71-3DD94838D6D3}"/>
          </ac:picMkLst>
        </pc:picChg>
        <pc:picChg chg="add mod">
          <ac:chgData name="Kubota Nichika" userId="S::kubota.n@lefixea.com::8fb0ef68-18aa-4d1b-b018-3b48622e93e2" providerId="AD" clId="Web-{0364A28C-779D-BB35-10FC-CC4D589C28A9}" dt="2026-04-08T04:24:25.139" v="55" actId="1076"/>
          <ac:picMkLst>
            <pc:docMk/>
            <pc:sldMk cId="549827552" sldId="3864"/>
            <ac:picMk id="11" creationId="{3F989FA8-9D7F-1D5B-2AEA-F3A7FD18643E}"/>
          </ac:picMkLst>
        </pc:picChg>
      </pc:sldChg>
      <pc:sldChg chg="addSp modSp">
        <pc:chgData name="Kubota Nichika" userId="S::kubota.n@lefixea.com::8fb0ef68-18aa-4d1b-b018-3b48622e93e2" providerId="AD" clId="Web-{0364A28C-779D-BB35-10FC-CC4D589C28A9}" dt="2026-04-08T04:24:02.060" v="50" actId="1076"/>
        <pc:sldMkLst>
          <pc:docMk/>
          <pc:sldMk cId="1586527965" sldId="3867"/>
        </pc:sldMkLst>
        <pc:graphicFrameChg chg="mod modVis">
          <ac:chgData name="Kubota Nichika" userId="S::kubota.n@lefixea.com::8fb0ef68-18aa-4d1b-b018-3b48622e93e2" providerId="AD" clId="Web-{0364A28C-779D-BB35-10FC-CC4D589C28A9}" dt="2026-04-08T04:22:25.259" v="38"/>
          <ac:graphicFrameMkLst>
            <pc:docMk/>
            <pc:sldMk cId="1586527965" sldId="3867"/>
            <ac:graphicFrameMk id="14" creationId="{2600016E-F1C5-2FC4-92B5-2AF63DDF117C}"/>
          </ac:graphicFrameMkLst>
        </pc:graphicFrameChg>
        <pc:picChg chg="add mod">
          <ac:chgData name="Kubota Nichika" userId="S::kubota.n@lefixea.com::8fb0ef68-18aa-4d1b-b018-3b48622e93e2" providerId="AD" clId="Web-{0364A28C-779D-BB35-10FC-CC4D589C28A9}" dt="2026-04-08T04:22:16.055" v="37" actId="14100"/>
          <ac:picMkLst>
            <pc:docMk/>
            <pc:sldMk cId="1586527965" sldId="3867"/>
            <ac:picMk id="2" creationId="{A322DEC7-C627-3A67-15E7-CA84BCD62A4B}"/>
          </ac:picMkLst>
        </pc:picChg>
        <pc:picChg chg="add mod modCrop">
          <ac:chgData name="Kubota Nichika" userId="S::kubota.n@lefixea.com::8fb0ef68-18aa-4d1b-b018-3b48622e93e2" providerId="AD" clId="Web-{0364A28C-779D-BB35-10FC-CC4D589C28A9}" dt="2026-04-08T04:24:02.060" v="50" actId="1076"/>
          <ac:picMkLst>
            <pc:docMk/>
            <pc:sldMk cId="1586527965" sldId="3867"/>
            <ac:picMk id="4" creationId="{4A34955B-EF1E-FD93-CB3B-BAAAB945AA72}"/>
          </ac:picMkLst>
        </pc:picChg>
      </pc:sldChg>
    </pc:docChg>
  </pc:docChgLst>
  <pc:docChgLst>
    <pc:chgData name="Kubota Nichika" userId="S::kubota.n@lefixea.com::8fb0ef68-18aa-4d1b-b018-3b48622e93e2" providerId="AD" clId="Web-{8CB2B65B-0772-0B12-F46F-3DBE99FEC8BE}"/>
    <pc:docChg chg="modSld">
      <pc:chgData name="Kubota Nichika" userId="S::kubota.n@lefixea.com::8fb0ef68-18aa-4d1b-b018-3b48622e93e2" providerId="AD" clId="Web-{8CB2B65B-0772-0B12-F46F-3DBE99FEC8BE}" dt="2026-04-08T08:47:23.711" v="8" actId="20577"/>
      <pc:docMkLst>
        <pc:docMk/>
      </pc:docMkLst>
      <pc:sldChg chg="delSp modSp">
        <pc:chgData name="Kubota Nichika" userId="S::kubota.n@lefixea.com::8fb0ef68-18aa-4d1b-b018-3b48622e93e2" providerId="AD" clId="Web-{8CB2B65B-0772-0B12-F46F-3DBE99FEC8BE}" dt="2026-04-08T08:47:23.711" v="8" actId="20577"/>
        <pc:sldMkLst>
          <pc:docMk/>
          <pc:sldMk cId="1586527965" sldId="3867"/>
        </pc:sldMkLst>
        <pc:spChg chg="mod">
          <ac:chgData name="Kubota Nichika" userId="S::kubota.n@lefixea.com::8fb0ef68-18aa-4d1b-b018-3b48622e93e2" providerId="AD" clId="Web-{8CB2B65B-0772-0B12-F46F-3DBE99FEC8BE}" dt="2026-04-08T08:47:23.711" v="8" actId="20577"/>
          <ac:spMkLst>
            <pc:docMk/>
            <pc:sldMk cId="1586527965" sldId="3867"/>
            <ac:spMk id="46" creationId="{CB287721-95BA-7799-A33D-485303C76C19}"/>
          </ac:spMkLst>
        </pc:spChg>
        <pc:picChg chg="del">
          <ac:chgData name="Kubota Nichika" userId="S::kubota.n@lefixea.com::8fb0ef68-18aa-4d1b-b018-3b48622e93e2" providerId="AD" clId="Web-{8CB2B65B-0772-0B12-F46F-3DBE99FEC8BE}" dt="2026-04-08T08:45:24.942" v="0"/>
          <ac:picMkLst>
            <pc:docMk/>
            <pc:sldMk cId="1586527965" sldId="3867"/>
            <ac:picMk id="2" creationId="{A322DEC7-C627-3A67-15E7-CA84BCD62A4B}"/>
          </ac:picMkLst>
        </pc:picChg>
        <pc:picChg chg="del">
          <ac:chgData name="Kubota Nichika" userId="S::kubota.n@lefixea.com::8fb0ef68-18aa-4d1b-b018-3b48622e93e2" providerId="AD" clId="Web-{8CB2B65B-0772-0B12-F46F-3DBE99FEC8BE}" dt="2026-04-08T08:45:26.817" v="1"/>
          <ac:picMkLst>
            <pc:docMk/>
            <pc:sldMk cId="1586527965" sldId="3867"/>
            <ac:picMk id="4" creationId="{4A34955B-EF1E-FD93-CB3B-BAAAB945AA72}"/>
          </ac:picMkLst>
        </pc:picChg>
        <pc:picChg chg="mod">
          <ac:chgData name="Kubota Nichika" userId="S::kubota.n@lefixea.com::8fb0ef68-18aa-4d1b-b018-3b48622e93e2" providerId="AD" clId="Web-{8CB2B65B-0772-0B12-F46F-3DBE99FEC8BE}" dt="2026-04-08T08:47:04.773" v="5"/>
          <ac:picMkLst>
            <pc:docMk/>
            <pc:sldMk cId="1586527965" sldId="3867"/>
            <ac:picMk id="6" creationId="{A9605EBA-47D7-A383-92FD-F5488743C0F0}"/>
          </ac:picMkLst>
        </pc:picChg>
      </pc:sldChg>
    </pc:docChg>
  </pc:docChgLst>
  <pc:docChgLst>
    <pc:chgData name="Kubota Nichika" userId="S::kubota.n@lefixea.com::8fb0ef68-18aa-4d1b-b018-3b48622e93e2" providerId="AD" clId="Web-{C5A1E577-74BB-3BEE-A6AF-76B7CDBC4E9A}"/>
    <pc:docChg chg="modSld">
      <pc:chgData name="Kubota Nichika" userId="S::kubota.n@lefixea.com::8fb0ef68-18aa-4d1b-b018-3b48622e93e2" providerId="AD" clId="Web-{C5A1E577-74BB-3BEE-A6AF-76B7CDBC4E9A}" dt="2026-04-09T00:48:36.243" v="5" actId="1076"/>
      <pc:docMkLst>
        <pc:docMk/>
      </pc:docMkLst>
      <pc:sldChg chg="addSp modSp">
        <pc:chgData name="Kubota Nichika" userId="S::kubota.n@lefixea.com::8fb0ef68-18aa-4d1b-b018-3b48622e93e2" providerId="AD" clId="Web-{C5A1E577-74BB-3BEE-A6AF-76B7CDBC4E9A}" dt="2026-04-09T00:48:36.243" v="5" actId="1076"/>
        <pc:sldMkLst>
          <pc:docMk/>
          <pc:sldMk cId="2819633542" sldId="3844"/>
        </pc:sldMkLst>
        <pc:spChg chg="add mod">
          <ac:chgData name="Kubota Nichika" userId="S::kubota.n@lefixea.com::8fb0ef68-18aa-4d1b-b018-3b48622e93e2" providerId="AD" clId="Web-{C5A1E577-74BB-3BEE-A6AF-76B7CDBC4E9A}" dt="2026-04-09T00:48:36.243" v="5" actId="1076"/>
          <ac:spMkLst>
            <pc:docMk/>
            <pc:sldMk cId="2819633542" sldId="3844"/>
            <ac:spMk id="5" creationId="{13D757CF-D9CC-2FED-41CD-6280A18E9D91}"/>
          </ac:spMkLst>
        </pc:spChg>
        <pc:picChg chg="add">
          <ac:chgData name="Kubota Nichika" userId="S::kubota.n@lefixea.com::8fb0ef68-18aa-4d1b-b018-3b48622e93e2" providerId="AD" clId="Web-{C5A1E577-74BB-3BEE-A6AF-76B7CDBC4E9A}" dt="2026-04-09T00:48:28.993" v="0"/>
          <ac:picMkLst>
            <pc:docMk/>
            <pc:sldMk cId="2819633542" sldId="3844"/>
            <ac:picMk id="3" creationId="{96F57ED9-318E-B001-D5CA-908C41CE347A}"/>
          </ac:picMkLst>
        </pc:picChg>
      </pc:sldChg>
    </pc:docChg>
  </pc:docChgLst>
  <pc:docChgLst>
    <pc:chgData name="Kubota Nichika" userId="S::kubota.n@lefixea.com::8fb0ef68-18aa-4d1b-b018-3b48622e93e2" providerId="AD" clId="Web-{F7623663-5F3B-171A-50AE-AA4107C139DB}"/>
    <pc:docChg chg="modSld">
      <pc:chgData name="Kubota Nichika" userId="S::kubota.n@lefixea.com::8fb0ef68-18aa-4d1b-b018-3b48622e93e2" providerId="AD" clId="Web-{F7623663-5F3B-171A-50AE-AA4107C139DB}" dt="2026-04-07T09:48:32.067" v="12" actId="1076"/>
      <pc:docMkLst>
        <pc:docMk/>
      </pc:docMkLst>
      <pc:sldChg chg="modSp">
        <pc:chgData name="Kubota Nichika" userId="S::kubota.n@lefixea.com::8fb0ef68-18aa-4d1b-b018-3b48622e93e2" providerId="AD" clId="Web-{F7623663-5F3B-171A-50AE-AA4107C139DB}" dt="2026-04-07T09:43:15.784" v="1" actId="1076"/>
        <pc:sldMkLst>
          <pc:docMk/>
          <pc:sldMk cId="549827552" sldId="3864"/>
        </pc:sldMkLst>
        <pc:spChg chg="mod">
          <ac:chgData name="Kubota Nichika" userId="S::kubota.n@lefixea.com::8fb0ef68-18aa-4d1b-b018-3b48622e93e2" providerId="AD" clId="Web-{F7623663-5F3B-171A-50AE-AA4107C139DB}" dt="2026-04-07T09:43:15.784" v="1" actId="1076"/>
          <ac:spMkLst>
            <pc:docMk/>
            <pc:sldMk cId="549827552" sldId="3864"/>
            <ac:spMk id="4" creationId="{A102335D-8C21-168F-7A39-B623B0F3F75E}"/>
          </ac:spMkLst>
        </pc:spChg>
        <pc:picChg chg="mod">
          <ac:chgData name="Kubota Nichika" userId="S::kubota.n@lefixea.com::8fb0ef68-18aa-4d1b-b018-3b48622e93e2" providerId="AD" clId="Web-{F7623663-5F3B-171A-50AE-AA4107C139DB}" dt="2026-04-07T09:43:07.737" v="0"/>
          <ac:picMkLst>
            <pc:docMk/>
            <pc:sldMk cId="549827552" sldId="3864"/>
            <ac:picMk id="2" creationId="{6B220A47-73C5-6C15-02D4-5F9AF4BD56F0}"/>
          </ac:picMkLst>
        </pc:picChg>
      </pc:sldChg>
      <pc:sldChg chg="modSp">
        <pc:chgData name="Kubota Nichika" userId="S::kubota.n@lefixea.com::8fb0ef68-18aa-4d1b-b018-3b48622e93e2" providerId="AD" clId="Web-{F7623663-5F3B-171A-50AE-AA4107C139DB}" dt="2026-04-07T09:45:15.019" v="2"/>
        <pc:sldMkLst>
          <pc:docMk/>
          <pc:sldMk cId="2378726715" sldId="3865"/>
        </pc:sldMkLst>
        <pc:picChg chg="mod">
          <ac:chgData name="Kubota Nichika" userId="S::kubota.n@lefixea.com::8fb0ef68-18aa-4d1b-b018-3b48622e93e2" providerId="AD" clId="Web-{F7623663-5F3B-171A-50AE-AA4107C139DB}" dt="2026-04-07T09:45:15.019" v="2"/>
          <ac:picMkLst>
            <pc:docMk/>
            <pc:sldMk cId="2378726715" sldId="3865"/>
            <ac:picMk id="7" creationId="{7BFEE948-67EB-B8C4-DD3F-F784BEA861D4}"/>
          </ac:picMkLst>
        </pc:picChg>
      </pc:sldChg>
      <pc:sldChg chg="modSp">
        <pc:chgData name="Kubota Nichika" userId="S::kubota.n@lefixea.com::8fb0ef68-18aa-4d1b-b018-3b48622e93e2" providerId="AD" clId="Web-{F7623663-5F3B-171A-50AE-AA4107C139DB}" dt="2026-04-07T09:46:35.926" v="9" actId="14100"/>
        <pc:sldMkLst>
          <pc:docMk/>
          <pc:sldMk cId="780857390" sldId="3866"/>
        </pc:sldMkLst>
        <pc:spChg chg="mod">
          <ac:chgData name="Kubota Nichika" userId="S::kubota.n@lefixea.com::8fb0ef68-18aa-4d1b-b018-3b48622e93e2" providerId="AD" clId="Web-{F7623663-5F3B-171A-50AE-AA4107C139DB}" dt="2026-04-07T09:46:35.926" v="9" actId="14100"/>
          <ac:spMkLst>
            <pc:docMk/>
            <pc:sldMk cId="780857390" sldId="3866"/>
            <ac:spMk id="6" creationId="{1D33DA89-3839-E66A-2086-64FC4A52DC88}"/>
          </ac:spMkLst>
        </pc:spChg>
        <pc:picChg chg="mod modCrop">
          <ac:chgData name="Kubota Nichika" userId="S::kubota.n@lefixea.com::8fb0ef68-18aa-4d1b-b018-3b48622e93e2" providerId="AD" clId="Web-{F7623663-5F3B-171A-50AE-AA4107C139DB}" dt="2026-04-07T09:46:31.238" v="7" actId="14100"/>
          <ac:picMkLst>
            <pc:docMk/>
            <pc:sldMk cId="780857390" sldId="3866"/>
            <ac:picMk id="4" creationId="{56B1E838-0EA2-D44A-B873-605B87265FE3}"/>
          </ac:picMkLst>
        </pc:picChg>
        <pc:picChg chg="mod">
          <ac:chgData name="Kubota Nichika" userId="S::kubota.n@lefixea.com::8fb0ef68-18aa-4d1b-b018-3b48622e93e2" providerId="AD" clId="Web-{F7623663-5F3B-171A-50AE-AA4107C139DB}" dt="2026-04-07T09:45:57.644" v="3"/>
          <ac:picMkLst>
            <pc:docMk/>
            <pc:sldMk cId="780857390" sldId="3866"/>
            <ac:picMk id="9" creationId="{212A6E34-1B81-D8BF-6A0C-F32CA14A4FBA}"/>
          </ac:picMkLst>
        </pc:picChg>
      </pc:sldChg>
      <pc:sldChg chg="modSp">
        <pc:chgData name="Kubota Nichika" userId="S::kubota.n@lefixea.com::8fb0ef68-18aa-4d1b-b018-3b48622e93e2" providerId="AD" clId="Web-{F7623663-5F3B-171A-50AE-AA4107C139DB}" dt="2026-04-07T09:48:32.067" v="12" actId="1076"/>
        <pc:sldMkLst>
          <pc:docMk/>
          <pc:sldMk cId="3468335815" sldId="3868"/>
        </pc:sldMkLst>
        <pc:picChg chg="mod">
          <ac:chgData name="Kubota Nichika" userId="S::kubota.n@lefixea.com::8fb0ef68-18aa-4d1b-b018-3b48622e93e2" providerId="AD" clId="Web-{F7623663-5F3B-171A-50AE-AA4107C139DB}" dt="2026-04-07T09:48:32.067" v="12" actId="1076"/>
          <ac:picMkLst>
            <pc:docMk/>
            <pc:sldMk cId="3468335815" sldId="3868"/>
            <ac:picMk id="2" creationId="{C6979051-9140-D363-3A88-308C9AA07D4A}"/>
          </ac:picMkLst>
        </pc:picChg>
      </pc:sldChg>
    </pc:docChg>
  </pc:docChgLst>
  <pc:docChgLst>
    <pc:chgData name="Matsubara Tomoaki" userId="ef143bb3-7e06-476c-90cc-89a444f71210" providerId="ADAL" clId="{A544731A-1D18-58F3-B398-43D663FCF7AC}"/>
    <pc:docChg chg="custSel addSld delSld modSld">
      <pc:chgData name="Matsubara Tomoaki" userId="ef143bb3-7e06-476c-90cc-89a444f71210" providerId="ADAL" clId="{A544731A-1D18-58F3-B398-43D663FCF7AC}" dt="2026-04-03T10:48:49.696" v="591" actId="404"/>
      <pc:docMkLst>
        <pc:docMk/>
      </pc:docMkLst>
      <pc:sldChg chg="addSp delSp modSp mod">
        <pc:chgData name="Matsubara Tomoaki" userId="ef143bb3-7e06-476c-90cc-89a444f71210" providerId="ADAL" clId="{A544731A-1D18-58F3-B398-43D663FCF7AC}" dt="2026-04-02T06:13:47.804" v="238" actId="20577"/>
        <pc:sldMkLst>
          <pc:docMk/>
          <pc:sldMk cId="2819633542" sldId="3844"/>
        </pc:sldMkLst>
        <pc:spChg chg="mod">
          <ac:chgData name="Matsubara Tomoaki" userId="ef143bb3-7e06-476c-90cc-89a444f71210" providerId="ADAL" clId="{A544731A-1D18-58F3-B398-43D663FCF7AC}" dt="2026-04-02T06:13:47.804" v="238" actId="20577"/>
          <ac:spMkLst>
            <pc:docMk/>
            <pc:sldMk cId="2819633542" sldId="3844"/>
            <ac:spMk id="2" creationId="{68BB6C06-41F5-7E51-0BBE-25B47B2E13B6}"/>
          </ac:spMkLst>
        </pc:spChg>
      </pc:sldChg>
      <pc:sldChg chg="delSp modSp mod">
        <pc:chgData name="Matsubara Tomoaki" userId="ef143bb3-7e06-476c-90cc-89a444f71210" providerId="ADAL" clId="{A544731A-1D18-58F3-B398-43D663FCF7AC}" dt="2026-04-03T10:48:28.908" v="582" actId="404"/>
        <pc:sldMkLst>
          <pc:docMk/>
          <pc:sldMk cId="549827552" sldId="3864"/>
        </pc:sldMkLst>
        <pc:spChg chg="mod">
          <ac:chgData name="Matsubara Tomoaki" userId="ef143bb3-7e06-476c-90cc-89a444f71210" providerId="ADAL" clId="{A544731A-1D18-58F3-B398-43D663FCF7AC}" dt="2026-04-03T10:48:28.908" v="582" actId="404"/>
          <ac:spMkLst>
            <pc:docMk/>
            <pc:sldMk cId="549827552" sldId="3864"/>
            <ac:spMk id="20" creationId="{5AB23975-38D1-2211-7A16-A1E5B8BC1E57}"/>
          </ac:spMkLst>
        </pc:spChg>
        <pc:spChg chg="mod">
          <ac:chgData name="Matsubara Tomoaki" userId="ef143bb3-7e06-476c-90cc-89a444f71210" providerId="ADAL" clId="{A544731A-1D18-58F3-B398-43D663FCF7AC}" dt="2026-04-02T06:21:03.897" v="326" actId="20577"/>
          <ac:spMkLst>
            <pc:docMk/>
            <pc:sldMk cId="549827552" sldId="3864"/>
            <ac:spMk id="46" creationId="{4468475E-7A65-95D0-CE32-9C2F5BED2831}"/>
          </ac:spMkLst>
        </pc:spChg>
      </pc:sldChg>
      <pc:sldChg chg="delSp modSp mod">
        <pc:chgData name="Matsubara Tomoaki" userId="ef143bb3-7e06-476c-90cc-89a444f71210" providerId="ADAL" clId="{A544731A-1D18-58F3-B398-43D663FCF7AC}" dt="2026-04-03T10:48:36.449" v="585" actId="404"/>
        <pc:sldMkLst>
          <pc:docMk/>
          <pc:sldMk cId="2378726715" sldId="3865"/>
        </pc:sldMkLst>
        <pc:spChg chg="mod">
          <ac:chgData name="Matsubara Tomoaki" userId="ef143bb3-7e06-476c-90cc-89a444f71210" providerId="ADAL" clId="{A544731A-1D18-58F3-B398-43D663FCF7AC}" dt="2026-04-03T10:48:36.449" v="585" actId="404"/>
          <ac:spMkLst>
            <pc:docMk/>
            <pc:sldMk cId="2378726715" sldId="3865"/>
            <ac:spMk id="46" creationId="{4468475E-7A65-95D0-CE32-9C2F5BED2831}"/>
          </ac:spMkLst>
        </pc:spChg>
      </pc:sldChg>
      <pc:sldChg chg="modSp mod">
        <pc:chgData name="Matsubara Tomoaki" userId="ef143bb3-7e06-476c-90cc-89a444f71210" providerId="ADAL" clId="{A544731A-1D18-58F3-B398-43D663FCF7AC}" dt="2026-04-03T10:48:49.696" v="591" actId="404"/>
        <pc:sldMkLst>
          <pc:docMk/>
          <pc:sldMk cId="780857390" sldId="3866"/>
        </pc:sldMkLst>
        <pc:spChg chg="mod">
          <ac:chgData name="Matsubara Tomoaki" userId="ef143bb3-7e06-476c-90cc-89a444f71210" providerId="ADAL" clId="{A544731A-1D18-58F3-B398-43D663FCF7AC}" dt="2026-04-03T10:48:49.696" v="591" actId="404"/>
          <ac:spMkLst>
            <pc:docMk/>
            <pc:sldMk cId="780857390" sldId="3866"/>
            <ac:spMk id="12" creationId="{89142D57-CFE0-B4D0-3DD6-7832DF028137}"/>
          </ac:spMkLst>
        </pc:spChg>
        <pc:spChg chg="mod">
          <ac:chgData name="Matsubara Tomoaki" userId="ef143bb3-7e06-476c-90cc-89a444f71210" providerId="ADAL" clId="{A544731A-1D18-58F3-B398-43D663FCF7AC}" dt="2026-04-03T06:49:37.850" v="538" actId="20577"/>
          <ac:spMkLst>
            <pc:docMk/>
            <pc:sldMk cId="780857390" sldId="3866"/>
            <ac:spMk id="20" creationId="{5AB23975-38D1-2211-7A16-A1E5B8BC1E57}"/>
          </ac:spMkLst>
        </pc:spChg>
        <pc:spChg chg="mod">
          <ac:chgData name="Matsubara Tomoaki" userId="ef143bb3-7e06-476c-90cc-89a444f71210" providerId="ADAL" clId="{A544731A-1D18-58F3-B398-43D663FCF7AC}" dt="2026-04-03T10:48:47.218" v="590" actId="1076"/>
          <ac:spMkLst>
            <pc:docMk/>
            <pc:sldMk cId="780857390" sldId="3866"/>
            <ac:spMk id="46" creationId="{4468475E-7A65-95D0-CE32-9C2F5BED2831}"/>
          </ac:spMkLst>
        </pc:spChg>
      </pc:sldChg>
      <pc:sldChg chg="addSp delSp modSp add mod">
        <pc:chgData name="Matsubara Tomoaki" userId="ef143bb3-7e06-476c-90cc-89a444f71210" providerId="ADAL" clId="{A544731A-1D18-58F3-B398-43D663FCF7AC}" dt="2026-04-02T06:20:55.238" v="324" actId="1037"/>
        <pc:sldMkLst>
          <pc:docMk/>
          <pc:sldMk cId="1586527965" sldId="3867"/>
        </pc:sldMkLst>
        <pc:spChg chg="mod">
          <ac:chgData name="Matsubara Tomoaki" userId="ef143bb3-7e06-476c-90cc-89a444f71210" providerId="ADAL" clId="{A544731A-1D18-58F3-B398-43D663FCF7AC}" dt="2026-04-02T06:14:46.849" v="266" actId="20577"/>
          <ac:spMkLst>
            <pc:docMk/>
            <pc:sldMk cId="1586527965" sldId="3867"/>
            <ac:spMk id="20" creationId="{6A675F99-7998-F4D4-054A-41594B45CA40}"/>
          </ac:spMkLst>
        </pc:spChg>
        <pc:spChg chg="mod">
          <ac:chgData name="Matsubara Tomoaki" userId="ef143bb3-7e06-476c-90cc-89a444f71210" providerId="ADAL" clId="{A544731A-1D18-58F3-B398-43D663FCF7AC}" dt="2026-04-02T06:19:29.541" v="312" actId="20577"/>
          <ac:spMkLst>
            <pc:docMk/>
            <pc:sldMk cId="1586527965" sldId="3867"/>
            <ac:spMk id="46" creationId="{CB287721-95BA-7799-A33D-485303C76C19}"/>
          </ac:spMkLst>
        </pc:spChg>
        <pc:picChg chg="add mod">
          <ac:chgData name="Matsubara Tomoaki" userId="ef143bb3-7e06-476c-90cc-89a444f71210" providerId="ADAL" clId="{A544731A-1D18-58F3-B398-43D663FCF7AC}" dt="2026-04-02T06:20:55.238" v="324" actId="1037"/>
          <ac:picMkLst>
            <pc:docMk/>
            <pc:sldMk cId="1586527965" sldId="3867"/>
            <ac:picMk id="6" creationId="{A9605EBA-47D7-A383-92FD-F5488743C0F0}"/>
          </ac:picMkLst>
        </pc:picChg>
      </pc:sldChg>
      <pc:sldChg chg="addSp delSp modSp add mod">
        <pc:chgData name="Matsubara Tomoaki" userId="ef143bb3-7e06-476c-90cc-89a444f71210" providerId="ADAL" clId="{A544731A-1D18-58F3-B398-43D663FCF7AC}" dt="2026-04-02T06:35:02.399" v="533" actId="1036"/>
        <pc:sldMkLst>
          <pc:docMk/>
          <pc:sldMk cId="3468335815" sldId="3868"/>
        </pc:sldMkLst>
        <pc:spChg chg="mod">
          <ac:chgData name="Matsubara Tomoaki" userId="ef143bb3-7e06-476c-90cc-89a444f71210" providerId="ADAL" clId="{A544731A-1D18-58F3-B398-43D663FCF7AC}" dt="2026-04-02T06:33:58.753" v="525" actId="20577"/>
          <ac:spMkLst>
            <pc:docMk/>
            <pc:sldMk cId="3468335815" sldId="3868"/>
            <ac:spMk id="5" creationId="{A37C1045-0DCF-6AC3-49E1-17B7E6294B5B}"/>
          </ac:spMkLst>
        </pc:spChg>
        <pc:spChg chg="mod">
          <ac:chgData name="Matsubara Tomoaki" userId="ef143bb3-7e06-476c-90cc-89a444f71210" providerId="ADAL" clId="{A544731A-1D18-58F3-B398-43D663FCF7AC}" dt="2026-04-02T06:21:40.575" v="363" actId="20577"/>
          <ac:spMkLst>
            <pc:docMk/>
            <pc:sldMk cId="3468335815" sldId="3868"/>
            <ac:spMk id="20" creationId="{A1BDA946-DCE1-F068-0DD9-A83385C892FC}"/>
          </ac:spMkLst>
        </pc:spChg>
        <pc:spChg chg="mod">
          <ac:chgData name="Matsubara Tomoaki" userId="ef143bb3-7e06-476c-90cc-89a444f71210" providerId="ADAL" clId="{A544731A-1D18-58F3-B398-43D663FCF7AC}" dt="2026-04-02T06:33:46.678" v="459" actId="20577"/>
          <ac:spMkLst>
            <pc:docMk/>
            <pc:sldMk cId="3468335815" sldId="3868"/>
            <ac:spMk id="46" creationId="{DA107184-6FA4-BF8E-1BCB-4FC483C74B57}"/>
          </ac:spMkLst>
        </pc:spChg>
        <pc:picChg chg="add mod">
          <ac:chgData name="Matsubara Tomoaki" userId="ef143bb3-7e06-476c-90cc-89a444f71210" providerId="ADAL" clId="{A544731A-1D18-58F3-B398-43D663FCF7AC}" dt="2026-04-02T06:35:02.399" v="533" actId="1036"/>
          <ac:picMkLst>
            <pc:docMk/>
            <pc:sldMk cId="3468335815" sldId="3868"/>
            <ac:picMk id="2" creationId="{C6979051-9140-D363-3A88-308C9AA07D4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4C80DEDF-D1F8-3044-A2EA-37054BB3A3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F969C2DA-CA2D-2B4A-B2C3-0AA1418E31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BB5DB-5A56-CF43-B5BB-571F07623099}" type="datetimeFigureOut">
              <a:rPr kumimoji="1" lang="ja-JP" altLang="en-US" smtClean="0"/>
              <a:t>2026/4/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0FEC747E-38EF-3041-9BC5-9265BB3959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58672EDE-2C0B-ED4C-A761-030583F354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5533C-D1F7-564E-9E19-9D5E53E146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5790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0C60E9-5877-444C-84B7-37D16D2A8C27}" type="datetimeFigureOut">
              <a:rPr lang="en-GB" smtClean="0"/>
              <a:t>08/04/202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CEC724-DA86-49C3-9B67-CFEF5279C4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4378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43A5B-53EA-7E36-1309-34738DABB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CD6AA3-D51F-F22A-143B-20A243053F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6E41A7-333D-4A85-9C16-9F364ED61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3E303B-41C7-94A7-71D8-C23A67B9D0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4560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18096-0738-3CAB-675A-CADFFEA07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47D5E8-372A-6F30-977D-D0CFC77F0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2BF89-27C2-58A8-AD26-73AB26376D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D3F3D-31C6-F301-7AEA-340D443F5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040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18096-0738-3CAB-675A-CADFFEA07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47D5E8-372A-6F30-977D-D0CFC77F0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2BF89-27C2-58A8-AD26-73AB26376D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D3F3D-31C6-F301-7AEA-340D443F5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808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C18096-0738-3CAB-675A-CADFFEA07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47D5E8-372A-6F30-977D-D0CFC77F0B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2BF89-27C2-58A8-AD26-73AB26376D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D3F3D-31C6-F301-7AEA-340D443F5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6472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91EE36-6AB2-3F8B-BE42-7AA6FE978A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3F23B7-6CE3-71C2-9B7D-6D6A333E73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859C7E-1668-C1F4-514C-E80F3959C1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9C2597-B2B9-572A-A9F6-B8367C3B29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8473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1416424"/>
            <a:ext cx="9144000" cy="492443"/>
          </a:xfrm>
        </p:spPr>
        <p:txBody>
          <a:bodyPr lIns="0" tIns="0" rIns="0" bIns="0" anchor="t">
            <a:spAutoFit/>
          </a:bodyPr>
          <a:lstStyle>
            <a:lvl1pPr algn="l">
              <a:defRPr sz="32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Title inserted he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1927865"/>
            <a:ext cx="9144000" cy="2769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and date inserted her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5446800"/>
            <a:ext cx="1789200" cy="504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 b="1"/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/>
              <a:t>Presentation/Report to Client Name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6CFC04F5-9567-7444-870C-EF9F73B1C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5127" y="4725144"/>
            <a:ext cx="1617408" cy="432000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0BEA0FF-0E51-1B44-8C45-8FB387FB4228}"/>
              </a:ext>
            </a:extLst>
          </p:cNvPr>
          <p:cNvSpPr txBox="1"/>
          <p:nvPr userDrawn="1"/>
        </p:nvSpPr>
        <p:spPr>
          <a:xfrm>
            <a:off x="6609185" y="5301208"/>
            <a:ext cx="1822935" cy="738664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六本木オフィス：</a:t>
            </a:r>
            <a:endParaRPr kumimoji="1" lang="en-US" altLang="ja-JP" sz="105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〒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6-0032</a:t>
            </a:r>
          </a:p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東京都 港区 六本木</a:t>
            </a:r>
            <a:b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-17-6-403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8D8FDAE0-9F11-6448-94F8-356A77C16AE9}"/>
              </a:ext>
            </a:extLst>
          </p:cNvPr>
          <p:cNvSpPr txBox="1"/>
          <p:nvPr userDrawn="1"/>
        </p:nvSpPr>
        <p:spPr>
          <a:xfrm>
            <a:off x="6609184" y="6116798"/>
            <a:ext cx="1822935" cy="415498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電話：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3-6456-4323</a:t>
            </a:r>
          </a:p>
          <a:p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RL</a:t>
            </a:r>
            <a:r>
              <a:rPr kumimoji="1" lang="ja-JP" altLang="en-US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：</a:t>
            </a:r>
            <a:r>
              <a:rPr kumimoji="1" lang="en-US" altLang="ja-JP" sz="105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ttps://</a:t>
            </a:r>
            <a:r>
              <a:rPr kumimoji="1" lang="en-US" altLang="ja-JP" sz="105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fixea.com</a:t>
            </a:r>
            <a:endParaRPr kumimoji="1" lang="ja-JP" altLang="en-US" sz="105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639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1111250"/>
            <a:ext cx="9906000" cy="46609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4" name="Straight Connector 3"/>
          <p:cNvCxnSpPr>
            <a:stCxn id="3" idx="0"/>
            <a:endCxn id="3" idx="2"/>
          </p:cNvCxnSpPr>
          <p:nvPr userDrawn="1"/>
        </p:nvCxnSpPr>
        <p:spPr>
          <a:xfrm>
            <a:off x="4953000" y="1111250"/>
            <a:ext cx="0" cy="46609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2239200"/>
            <a:ext cx="4572000" cy="492443"/>
          </a:xfrm>
        </p:spPr>
        <p:txBody>
          <a:bodyPr lIns="0" tIns="0" rIns="0" bIns="0" anchor="t">
            <a:spAutoFit/>
          </a:bodyPr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Title inserted here</a:t>
            </a:r>
            <a:endParaRPr lang="en-GB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2746801"/>
            <a:ext cx="4572000" cy="2769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and date inserted her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2588" y="4798800"/>
            <a:ext cx="1789200" cy="504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/>
              <a:t>Presentation/Report to Client Nam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9746CFC5-530C-3A4D-AB0C-2EF41BA06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1108" y="1480228"/>
            <a:ext cx="1294532" cy="389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843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205" y="620688"/>
            <a:ext cx="9144000" cy="244800"/>
          </a:xfrm>
        </p:spPr>
        <p:txBody>
          <a:bodyPr/>
          <a:lstStyle/>
          <a:p>
            <a:r>
              <a:rPr lang="ja-JP" altLang="en-US" noProof="0"/>
              <a:t>マスター タイトルの書式設定</a:t>
            </a:r>
            <a:endParaRPr lang="en-US" noProof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 lIns="54000" tIns="0" rIns="0" bIns="0" anchor="ctr" anchorCtr="0">
            <a:noAutofit/>
          </a:bodyPr>
          <a:lstStyle>
            <a:lvl1pPr marL="141288" indent="0">
              <a:tabLst>
                <a:tab pos="327025" algn="l"/>
              </a:tabLst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A600D8BB-ED81-B24C-8C5F-B3EDAF22D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205" y="6302527"/>
            <a:ext cx="9144000" cy="154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000" noProof="0" dirty="0" smtClean="0"/>
            </a:lvl1pPr>
          </a:lstStyle>
          <a:p>
            <a:pPr lvl="0">
              <a:spcBef>
                <a:spcPts val="0"/>
              </a:spcBef>
            </a:pPr>
            <a:r>
              <a:rPr lang="en-US" noProof="0"/>
              <a:t>Source: Complete if require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DE8A99F-8BD8-770F-95E2-EBA91DC23408}"/>
              </a:ext>
            </a:extLst>
          </p:cNvPr>
          <p:cNvSpPr txBox="1">
            <a:spLocks/>
          </p:cNvSpPr>
          <p:nvPr userDrawn="1"/>
        </p:nvSpPr>
        <p:spPr>
          <a:xfrm>
            <a:off x="8634336" y="93772"/>
            <a:ext cx="1219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16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altLang="ja-JP"/>
              <a:t>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571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205" y="620688"/>
            <a:ext cx="9144000" cy="492443"/>
          </a:xfrm>
        </p:spPr>
        <p:txBody>
          <a:bodyPr/>
          <a:lstStyle/>
          <a:p>
            <a:r>
              <a:rPr lang="ja-JP" altLang="en-US" noProof="0"/>
              <a:t>マスター タイトルの書式設定</a:t>
            </a:r>
            <a:br>
              <a:rPr lang="en-US" altLang="ja-JP" noProof="0"/>
            </a:br>
            <a:r>
              <a:rPr lang="ja-JP" altLang="en-US" noProof="0"/>
              <a:t>マスター タイトルの書式設定</a:t>
            </a:r>
            <a:endParaRPr lang="en-US" noProof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90232" y="1196753"/>
            <a:ext cx="4496400" cy="5040560"/>
          </a:xfrm>
          <a:ln w="12700"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 marL="182563" indent="-180975">
              <a:defRPr sz="1200"/>
            </a:lvl2pPr>
            <a:lvl3pPr marL="357188" indent="-174625">
              <a:defRPr sz="1200"/>
            </a:lvl3pPr>
            <a:lvl4pPr marL="539750" indent="-182563">
              <a:defRPr sz="1200"/>
            </a:lvl4pPr>
            <a:lvl5pPr marL="541338" indent="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  <a:endParaRPr lang="en-US" noProof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037832" y="1196753"/>
            <a:ext cx="4496400" cy="5040560"/>
          </a:xfrm>
          <a:ln w="12700"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 marL="182563" indent="-180975">
              <a:defRPr sz="1200"/>
            </a:lvl2pPr>
            <a:lvl3pPr marL="357188" indent="-174625">
              <a:defRPr sz="1200"/>
            </a:lvl3pPr>
            <a:lvl4pPr marL="541338" indent="-184150">
              <a:defRPr sz="1200"/>
            </a:lvl4pPr>
            <a:lvl5pPr marL="541338" indent="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  <a:endParaRPr lang="en-US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906000" cy="404664"/>
          </a:xfrm>
        </p:spPr>
        <p:txBody>
          <a:bodyPr lIns="54000" tIns="0" rIns="0" bIns="0" anchor="ctr" anchorCtr="0">
            <a:noAutofit/>
          </a:bodyPr>
          <a:lstStyle>
            <a:lvl1pPr marL="141288" indent="0">
              <a:tabLst>
                <a:tab pos="327025" algn="l"/>
              </a:tabLst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64259C74-CFB0-924A-B753-AB705F3393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205" y="6302527"/>
            <a:ext cx="9144000" cy="154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000" noProof="0" dirty="0" smtClean="0"/>
            </a:lvl1pPr>
          </a:lstStyle>
          <a:p>
            <a:pPr lvl="0">
              <a:spcBef>
                <a:spcPts val="0"/>
              </a:spcBef>
            </a:pPr>
            <a:r>
              <a:rPr lang="en-US" noProof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138643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1432" y="620688"/>
            <a:ext cx="9144000" cy="2448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432" y="1081511"/>
            <a:ext cx="9144000" cy="5155801"/>
          </a:xfrm>
          <a:prstGeom prst="rect">
            <a:avLst/>
          </a:prstGeom>
        </p:spPr>
        <p:txBody>
          <a:bodyPr vert="horz" lIns="91440" tIns="90000" rIns="91440" bIns="90000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9188450" y="6524625"/>
            <a:ext cx="336550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1100" smtClean="0"/>
              <a:pPr algn="r" eaLnBrk="0" hangingPunct="0">
                <a:spcBef>
                  <a:spcPct val="0"/>
                </a:spcBef>
              </a:pPr>
              <a:t>‹#›</a:t>
            </a:fld>
            <a:endParaRPr lang="en-US" sz="100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BE959702-DB85-5F41-8259-2F63F13B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28144"/>
            <a:ext cx="881363" cy="236256"/>
          </a:xfrm>
          <a:prstGeom prst="rect">
            <a:avLst/>
          </a:prstGeom>
        </p:spPr>
      </p:pic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C665D069-C650-6B44-B522-89A5F0EAC12D}"/>
              </a:ext>
            </a:extLst>
          </p:cNvPr>
          <p:cNvCxnSpPr>
            <a:cxnSpLocks/>
          </p:cNvCxnSpPr>
          <p:nvPr userDrawn="1"/>
        </p:nvCxnSpPr>
        <p:spPr>
          <a:xfrm>
            <a:off x="0" y="404664"/>
            <a:ext cx="437693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96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9" r:id="rId2"/>
    <p:sldLayoutId id="2147483735" r:id="rId3"/>
    <p:sldLayoutId id="2147483736" r:id="rId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kumimoji="1" sz="1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0000" indent="-268288" algn="l" defTabSz="914400" rtl="0" eaLnBrk="1" latinLnBrk="0" hangingPunct="1">
        <a:spcBef>
          <a:spcPts val="1000"/>
        </a:spcBef>
        <a:buClr>
          <a:schemeClr val="tx1"/>
        </a:buClr>
        <a:buFont typeface="Wingdings" pitchFamily="2" charset="2"/>
        <a:buChar char="n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0000" indent="-268288" algn="l" defTabSz="914400" rtl="0" eaLnBrk="1" latinLnBrk="0" hangingPunct="1">
        <a:spcBef>
          <a:spcPts val="500"/>
        </a:spcBef>
        <a:buClr>
          <a:schemeClr val="tx1"/>
        </a:buClr>
        <a:buFont typeface="Arial" pitchFamily="34" charset="0"/>
        <a:buChar char="–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0000" indent="-270000" algn="l" defTabSz="914400" rtl="0" eaLnBrk="1" latinLnBrk="0" hangingPunct="1">
        <a:spcBef>
          <a:spcPts val="500"/>
        </a:spcBef>
        <a:buFont typeface="Arial" pitchFamily="34" charset="0"/>
        <a:buChar char="–"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10000" indent="0" algn="l" defTabSz="914400" rtl="0" eaLnBrk="1" latinLnBrk="0" hangingPunct="1">
        <a:spcBef>
          <a:spcPts val="500"/>
        </a:spcBef>
        <a:buFontTx/>
        <a:buNone/>
        <a:defRPr kumimoji="1"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fixea.com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hyperlink" Target="https://youtu.be/7TkbAfPhTDE?si=SC1mtuE4cO2a8zot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8BB6C06-41F5-7E51-0BBE-25B47B2E13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/>
              <a:t>Positioning photos and reports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CE996E2-EBE1-C2EA-A0F9-36A658D370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F57ED9-318E-B001-D5CA-908C41CE34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924" y="4635335"/>
            <a:ext cx="2514451" cy="1897122"/>
          </a:xfrm>
          <a:prstGeom prst="rect">
            <a:avLst/>
          </a:prstGeom>
          <a:ln>
            <a:noFill/>
          </a:ln>
        </p:spPr>
      </p:pic>
      <p:sp>
        <p:nvSpPr>
          <p:cNvPr id="5" name="TextBox 13">
            <a:extLst>
              <a:ext uri="{FF2B5EF4-FFF2-40B4-BE49-F238E27FC236}">
                <a16:creationId xmlns:a16="http://schemas.microsoft.com/office/drawing/2014/main" id="{13D757CF-D9CC-2FED-41CD-6280A18E9D91}"/>
              </a:ext>
            </a:extLst>
          </p:cNvPr>
          <p:cNvSpPr txBox="1"/>
          <p:nvPr/>
        </p:nvSpPr>
        <p:spPr>
          <a:xfrm>
            <a:off x="6387853" y="6200831"/>
            <a:ext cx="2743200" cy="276999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dirty="0">
                <a:latin typeface="MS PGothic"/>
                <a:ea typeface="MS PGothic"/>
                <a:cs typeface="+mn-lt"/>
                <a:hlinkClick r:id="rId3"/>
              </a:rPr>
              <a:t>https://www.lefixea.com/</a:t>
            </a:r>
            <a:endParaRPr lang="en-US" sz="1200" b="1">
              <a:latin typeface="MS PGothic"/>
              <a:ea typeface="MS PGothic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633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795CC-2AD3-9E7A-73E6-82B335BD1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77EA08-5415-C0B4-B756-00E88B103378}"/>
              </a:ext>
            </a:extLst>
          </p:cNvPr>
          <p:cNvSpPr txBox="1">
            <a:spLocks/>
          </p:cNvSpPr>
          <p:nvPr/>
        </p:nvSpPr>
        <p:spPr>
          <a:xfrm>
            <a:off x="59327" y="1585613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2600016E-F1C5-2FC4-92B5-2AF63DDF117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600016E-F1C5-2FC4-92B5-2AF63DDF1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A675F99-7998-F4D4-054A-41594B45C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2000"/>
              <a:t>Video of positioning photos</a:t>
            </a:r>
            <a:endParaRPr lang="en-US" altLang="ja-JP" sz="20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8622274-6C9A-6303-AEFA-6798CA4E71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70039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ow to use the Positioning Photo function</a:t>
            </a:r>
            <a:endParaRPr kumimoji="0" lang="en-US" sz="2000" b="1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CB287721-95BA-7799-A33D-485303C76C19}"/>
              </a:ext>
            </a:extLst>
          </p:cNvPr>
          <p:cNvSpPr txBox="1"/>
          <p:nvPr/>
        </p:nvSpPr>
        <p:spPr>
          <a:xfrm>
            <a:off x="2995" y="447630"/>
            <a:ext cx="9903006" cy="1323439"/>
          </a:xfrm>
          <a:prstGeom prst="rect">
            <a:avLst/>
          </a:prstGeom>
          <a:ln w="12700"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 sz="2000" b="1">
                <a:latin typeface="Arial" pitchFamily="34" charset="0"/>
                <a:cs typeface="Arial" pitchFamily="34" charset="0"/>
              </a:rPr>
              <a:t>Please watch the video first.</a:t>
            </a:r>
            <a:endParaRPr kumimoji="1" lang="en-US" altLang="ja-JP" sz="2000" b="1" dirty="0">
              <a:latin typeface="Arial" pitchFamily="34" charset="0"/>
              <a:cs typeface="Arial" pitchFamily="34" charset="0"/>
            </a:endParaRPr>
          </a:p>
          <a:p>
            <a:r>
              <a:rPr kumimoji="1" lang="en-US" sz="2000" dirty="0">
                <a:ea typeface="+mn-lt"/>
                <a:cs typeface="+mn-lt"/>
                <a:hlinkClick r:id="rId6"/>
              </a:rPr>
              <a:t>https://youtu.be/7TkbAfPhTDE?si=SC1mtuE4cO2a8zot</a:t>
            </a:r>
            <a:endParaRPr lang="en-US"/>
          </a:p>
          <a:p>
            <a:endParaRPr lang="en-US" sz="2000" dirty="0">
              <a:ea typeface="+mn-lt"/>
              <a:cs typeface="+mn-lt"/>
            </a:endParaRPr>
          </a:p>
          <a:p>
            <a:endParaRPr lang="en-US" altLang="ja-JP" sz="2000" b="1" dirty="0"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A9605EBA-47D7-A383-92FD-F5488743C0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5292" y="1859121"/>
            <a:ext cx="7241859" cy="4071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527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981E-0A2E-DAFC-8B09-402D8C9A0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104E4-9E55-530D-07E7-0AD9A30AF234}"/>
              </a:ext>
            </a:extLst>
          </p:cNvPr>
          <p:cNvSpPr txBox="1">
            <a:spLocks/>
          </p:cNvSpPr>
          <p:nvPr/>
        </p:nvSpPr>
        <p:spPr>
          <a:xfrm>
            <a:off x="59327" y="1585613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1C526B4-FBF6-1421-7B78-207F05C786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1C526B4-FBF6-1421-7B78-207F05C78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B23975-38D1-2211-7A16-A1E5B8BC1E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1600"/>
              <a:t>I want to save high-precision coordinates and photos with orientation information.</a:t>
            </a:r>
            <a:endParaRPr lang="en-US" altLang="ja-JP" sz="16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D08F3B0-F07F-07B1-9E91-079097711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70039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ow to use the Positioning Photo function</a:t>
            </a:r>
            <a:endParaRPr kumimoji="0" lang="en-US" sz="2000" b="1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4468475E-7A65-95D0-CE32-9C2F5BED2831}"/>
              </a:ext>
            </a:extLst>
          </p:cNvPr>
          <p:cNvSpPr txBox="1"/>
          <p:nvPr/>
        </p:nvSpPr>
        <p:spPr>
          <a:xfrm>
            <a:off x="2995" y="447630"/>
            <a:ext cx="9903006" cy="400110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2000" b="1">
                <a:latin typeface="Arial" pitchFamily="34" charset="0"/>
                <a:cs typeface="Arial" pitchFamily="34" charset="0"/>
              </a:rPr>
              <a:t>The positioning photo feature allows you to save coordinates and photos together as a set.</a:t>
            </a:r>
            <a:endParaRPr kumimoji="1" lang="en-US" altLang="ja-JP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6B220A47-73C5-6C15-02D4-5F9AF4BD56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173" y="1736153"/>
            <a:ext cx="2207484" cy="45522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A102335D-8C21-168F-7A39-B623B0F3F75E}"/>
              </a:ext>
            </a:extLst>
          </p:cNvPr>
          <p:cNvSpPr/>
          <p:nvPr/>
        </p:nvSpPr>
        <p:spPr>
          <a:xfrm>
            <a:off x="189884" y="2380589"/>
            <a:ext cx="518611" cy="6042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kumimoji="1" lang="ja-JP" alt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696C34D1-861E-B5DF-5CAF-2F10BBE4CB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58230" y="1794488"/>
            <a:ext cx="6939017" cy="3849307"/>
          </a:xfrm>
          <a:prstGeom prst="rect">
            <a:avLst/>
          </a:prstGeom>
        </p:spPr>
      </p:pic>
      <p:sp>
        <p:nvSpPr>
          <p:cNvPr id="9" name="矢印: 右 8">
            <a:extLst>
              <a:ext uri="{FF2B5EF4-FFF2-40B4-BE49-F238E27FC236}">
                <a16:creationId xmlns:a16="http://schemas.microsoft.com/office/drawing/2014/main" id="{7E8F55DB-28F9-D2F8-8E86-1AB61C228F94}"/>
              </a:ext>
            </a:extLst>
          </p:cNvPr>
          <p:cNvSpPr/>
          <p:nvPr/>
        </p:nvSpPr>
        <p:spPr>
          <a:xfrm>
            <a:off x="2437058" y="3534641"/>
            <a:ext cx="497477" cy="704850"/>
          </a:xfrm>
          <a:prstGeom prst="rightArrow">
            <a:avLst/>
          </a:prstGeom>
          <a:solidFill>
            <a:schemeClr val="tx1"/>
          </a:solidFill>
          <a:ln w="12700">
            <a:solidFill>
              <a:srgbClr val="969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3B56FB-0206-2F09-6F71-3DD94838D6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6646" y="4468059"/>
            <a:ext cx="1803847" cy="1179162"/>
          </a:xfrm>
          <a:prstGeom prst="rect">
            <a:avLst/>
          </a:prstGeom>
        </p:spPr>
      </p:pic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146D363F-D666-37AE-7FA2-093759C4C60F}"/>
              </a:ext>
            </a:extLst>
          </p:cNvPr>
          <p:cNvSpPr/>
          <p:nvPr/>
        </p:nvSpPr>
        <p:spPr>
          <a:xfrm>
            <a:off x="3382758" y="3943478"/>
            <a:ext cx="518611" cy="6042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kumimoji="1" lang="ja-JP" alt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989FA8-9D7F-1D5B-2AEA-F3A7FD1864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54812" y="1796605"/>
            <a:ext cx="1812431" cy="44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827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981E-0A2E-DAFC-8B09-402D8C9A0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104E4-9E55-530D-07E7-0AD9A30AF234}"/>
              </a:ext>
            </a:extLst>
          </p:cNvPr>
          <p:cNvSpPr txBox="1">
            <a:spLocks/>
          </p:cNvSpPr>
          <p:nvPr/>
        </p:nvSpPr>
        <p:spPr>
          <a:xfrm>
            <a:off x="59327" y="1554440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1C526B4-FBF6-1421-7B78-207F05C786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1C526B4-FBF6-1421-7B78-207F05C78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B23975-38D1-2211-7A16-A1E5B8BC1E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2000"/>
              <a:t>How to view data acquired with the Positioning Photo function</a:t>
            </a:r>
            <a:endParaRPr lang="en-US" altLang="ja-JP" sz="200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D08F3B0-F07F-07B1-9E91-079097711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38866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sitioning photos on the LRTK Cloud</a:t>
            </a:r>
            <a:endParaRPr kumimoji="0" lang="en-US" sz="2000" b="1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4468475E-7A65-95D0-CE32-9C2F5BED2831}"/>
              </a:ext>
            </a:extLst>
          </p:cNvPr>
          <p:cNvSpPr txBox="1"/>
          <p:nvPr/>
        </p:nvSpPr>
        <p:spPr>
          <a:xfrm>
            <a:off x="2995" y="447630"/>
            <a:ext cx="9903006" cy="523220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en-US" altLang="ja-JP" sz="1400" b="1" dirty="0">
                <a:latin typeface="Arial" pitchFamily="34" charset="0"/>
                <a:cs typeface="Arial" pitchFamily="34" charset="0"/>
              </a:rPr>
              <a:t>It can be viewed on the LRTK Cloud. Since each photo is saved together with its shooting orientation, you won't make mistakes when reviewing it later during inspections or disaster investigations.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7BFEE948-67EB-B8C4-DD3F-F784BEA861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598" y="1708433"/>
            <a:ext cx="9398804" cy="444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726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2981E-0A2E-DAFC-8B09-402D8C9A0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104E4-9E55-530D-07E7-0AD9A30AF234}"/>
              </a:ext>
            </a:extLst>
          </p:cNvPr>
          <p:cNvSpPr txBox="1">
            <a:spLocks/>
          </p:cNvSpPr>
          <p:nvPr/>
        </p:nvSpPr>
        <p:spPr>
          <a:xfrm>
            <a:off x="59327" y="1554440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1C526B4-FBF6-1421-7B78-207F05C7863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1C526B4-FBF6-1421-7B78-207F05C78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B23975-38D1-2211-7A16-A1E5B8BC1E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2000"/>
              <a:t>View photos of the same location in chronological order</a:t>
            </a:r>
            <a:endParaRPr lang="en-US" altLang="ja-JP" sz="20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D08F3B0-F07F-07B1-9E91-079097711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38866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ow to use the time-series display</a:t>
            </a:r>
            <a:endParaRPr kumimoji="0" lang="en-US" sz="2000" b="1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4468475E-7A65-95D0-CE32-9C2F5BED2831}"/>
              </a:ext>
            </a:extLst>
          </p:cNvPr>
          <p:cNvSpPr txBox="1"/>
          <p:nvPr/>
        </p:nvSpPr>
        <p:spPr>
          <a:xfrm>
            <a:off x="2994" y="516231"/>
            <a:ext cx="9903006" cy="461665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1200" b="1">
                <a:latin typeface="Arial" pitchFamily="34" charset="0"/>
                <a:cs typeface="Arial" pitchFamily="34" charset="0"/>
              </a:rPr>
              <a:t>It is also possible to display photos of the same location in chronological order. Geotagged photo data saved under the same group and title are consolidated into a single dataset. This is useful for checking deterioration over time.</a:t>
            </a:r>
            <a:endParaRPr kumimoji="1" lang="en-US" altLang="ja-JP" sz="12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56B1E838-0EA2-D44A-B873-605B87265F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-979" r="391" b="21036"/>
          <a:stretch>
            <a:fillRect/>
          </a:stretch>
        </p:blipFill>
        <p:spPr>
          <a:xfrm>
            <a:off x="137546" y="1553981"/>
            <a:ext cx="3420692" cy="3267751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1D33DA89-3839-E66A-2086-64FC4A52DC88}"/>
              </a:ext>
            </a:extLst>
          </p:cNvPr>
          <p:cNvSpPr/>
          <p:nvPr/>
        </p:nvSpPr>
        <p:spPr>
          <a:xfrm>
            <a:off x="289189" y="3910980"/>
            <a:ext cx="1558636" cy="3756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kumimoji="1" lang="ja-JP" alt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212A6E34-1B81-D8BF-6A0C-F32CA14A4F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0099" y="2220558"/>
            <a:ext cx="6387271" cy="3054927"/>
          </a:xfrm>
          <a:prstGeom prst="rect">
            <a:avLst/>
          </a:prstGeom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89142D57-CFE0-B4D0-3DD6-7832DF028137}"/>
              </a:ext>
            </a:extLst>
          </p:cNvPr>
          <p:cNvSpPr/>
          <p:nvPr/>
        </p:nvSpPr>
        <p:spPr>
          <a:xfrm>
            <a:off x="187397" y="5303560"/>
            <a:ext cx="9531205" cy="96215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geotagged photo data with the save group "Inspection" and the title "No Parking" are grouped together. Press Details to display the time-series data. Because you can also change the group or the geotagged photo's title stored in the cloud,</a:t>
            </a:r>
            <a:endParaRPr kumimoji="1" lang="en-US" altLang="ja-JP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kumimoji="1" lang="ja-JP" altLang="en-US" sz="14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t is also possible to compile them later and display them in chronological order.</a:t>
            </a:r>
            <a:endParaRPr kumimoji="1" lang="en-US" altLang="ja-JP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857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302628-54E8-BFB4-08BA-AF74EF8413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2E348-443B-6625-613E-3CDA096E1146}"/>
              </a:ext>
            </a:extLst>
          </p:cNvPr>
          <p:cNvSpPr txBox="1">
            <a:spLocks/>
          </p:cNvSpPr>
          <p:nvPr/>
        </p:nvSpPr>
        <p:spPr>
          <a:xfrm>
            <a:off x="59327" y="1554440"/>
            <a:ext cx="9762308" cy="485333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 rIns="9000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  <a:p>
            <a:pPr>
              <a:spcBef>
                <a:spcPts val="0"/>
              </a:spcBef>
            </a:pPr>
            <a:endParaRPr lang="en-US" altLang="ja-JP" sz="1800"/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0BFD404-3C36-AE51-08F1-FC41418C92C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0BFD404-3C36-AE51-08F1-FC41418C9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1BDA946-DCE1-F068-0DD9-A83385C892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2000"/>
              <a:t>Creating Reports</a:t>
            </a:r>
            <a:endParaRPr lang="en-US" altLang="ja-JP" sz="20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37C1045-0DCF-6AC3-49E1-17B7E6294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27" y="1138866"/>
            <a:ext cx="9772650" cy="405586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reate positioning photo reports</a:t>
            </a:r>
            <a:endParaRPr kumimoji="0" lang="en-US" sz="2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DA107184-6FA4-BF8E-1BCB-4FC483C74B57}"/>
              </a:ext>
            </a:extLst>
          </p:cNvPr>
          <p:cNvSpPr txBox="1"/>
          <p:nvPr/>
        </p:nvSpPr>
        <p:spPr>
          <a:xfrm>
            <a:off x="2995" y="447630"/>
            <a:ext cx="9903006" cy="707886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kumimoji="1" lang="ja-JP" altLang="en-US" sz="2000" b="1">
                <a:latin typeface="Arial" pitchFamily="34" charset="0"/>
                <a:cs typeface="Arial" pitchFamily="34" charset="0"/>
              </a:rPr>
              <a:t>Positioning photos can be exported as a report. Please watch the video.</a:t>
            </a:r>
            <a:endParaRPr kumimoji="1" lang="en-US" altLang="ja-JP" sz="2000" b="1" dirty="0">
              <a:latin typeface="Arial" pitchFamily="34" charset="0"/>
              <a:cs typeface="Arial" pitchFamily="34" charset="0"/>
            </a:endParaRPr>
          </a:p>
          <a:p>
            <a:r>
              <a:rPr kumimoji="1" lang="en-US" altLang="ja-JP" sz="2000" b="1" dirty="0">
                <a:latin typeface="Arial" pitchFamily="34" charset="0"/>
                <a:cs typeface="Arial" pitchFamily="34" charset="0"/>
              </a:rPr>
              <a:t>https://</a:t>
            </a:r>
            <a:r>
              <a:rPr kumimoji="1" lang="en-US" altLang="ja-JP" sz="2000" b="1" dirty="0" err="1">
                <a:latin typeface="Arial" pitchFamily="34" charset="0"/>
                <a:cs typeface="Arial" pitchFamily="34" charset="0"/>
              </a:rPr>
              <a:t>youtu.be</a:t>
            </a:r>
            <a:r>
              <a:rPr kumimoji="1" lang="en-US" altLang="ja-JP" sz="2000" b="1" dirty="0">
                <a:latin typeface="Arial" pitchFamily="34" charset="0"/>
                <a:cs typeface="Arial" pitchFamily="34" charset="0"/>
              </a:rPr>
              <a:t>/uau6eu_nRk0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C6979051-9140-D363-3A88-308C9AA07D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325" y="1969287"/>
            <a:ext cx="8505031" cy="4009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35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57&quot;/&gt;&lt;/object&gt;&lt;object type=&quot;3&quot; unique_id=&quot;10005&quot;&gt;&lt;property id=&quot;20148&quot; value=&quot;5&quot;/&gt;&lt;property id=&quot;20300&quot; value=&quot;Slide 3 - &amp;quot;Main contents slide (highlight chapter in use with fill and bold font and remove guide borders when completed)&amp;quot;&quot;/&gt;&lt;property id=&quot;20307&quot; value=&quot;256&quot;/&gt;&lt;/object&gt;&lt;object type=&quot;3&quot; unique_id=&quot;10006&quot;&gt;&lt;property id=&quot;20148&quot; value=&quot;5&quot;/&gt;&lt;property id=&quot;20300&quot; value=&quot;Slide 4 - &amp;quot;Sub-level contents slide if required (remove guide borders when completed)&amp;quot;&quot;/&gt;&lt;property id=&quot;20307&quot; value=&quot;258&quot;/&gt;&lt;/object&gt;&lt;object type=&quot;3&quot; unique_id=&quot;10007&quot;&gt;&lt;property id=&quot;20148&quot; value=&quot;5&quot;/&gt;&lt;property id=&quot;20300&quot; value=&quot;Slide 5 - &amp;quot;Example blank slide&amp;quot;&quot;/&gt;&lt;property id=&quot;20307&quot; value=&quot;260&quot;/&gt;&lt;/object&gt;&lt;object type=&quot;3&quot; unique_id=&quot;10008&quot;&gt;&lt;property id=&quot;20148&quot; value=&quot;5&quot;/&gt;&lt;property id=&quot;20300&quot; value=&quot;Slide 6 - &amp;quot;Example single monopoly card&amp;quot;&quot;/&gt;&lt;property id=&quot;20307&quot; value=&quot;259&quot;/&gt;&lt;/object&gt;&lt;object type=&quot;3&quot; unique_id=&quot;10009&quot;&gt;&lt;property id=&quot;20148&quot; value=&quot;5&quot;/&gt;&lt;property id=&quot;20300&quot; value=&quot;Slide 7 - &amp;quot;Example monopoly cards&amp;quot;&quot;/&gt;&lt;property id=&quot;20307&quot; value=&quot;261&quot;/&gt;&lt;/object&gt;&lt;object type=&quot;3&quot; unique_id=&quot;10010&quot;&gt;&lt;property id=&quot;20148&quot; value=&quot;5&quot;/&gt;&lt;property id=&quot;20300&quot; value=&quot;Slide 8 - &amp;quot;Example two column page&amp;quot;&quot;/&gt;&lt;property id=&quot;20307&quot; value=&quot;262&quot;/&gt;&lt;/object&gt;&lt;object type=&quot;3&quot; unique_id=&quot;10011&quot;&gt;&lt;property id=&quot;20148&quot; value=&quot;5&quot;/&gt;&lt;property id=&quot;20300&quot; value=&quot;Slide 9 - &amp;quot;Example table&amp;quot;&quot;/&gt;&lt;property id=&quot;20307&quot; value=&quot;263&quot;/&gt;&lt;/object&gt;&lt;object type=&quot;3&quot; unique_id=&quot;10012&quot;&gt;&lt;property id=&quot;20148&quot; value=&quot;5&quot;/&gt;&lt;property id=&quot;20300&quot; value=&quot;Slide 10 - &amp;quot;Notice&amp;quot;&quot;/&gt;&lt;property id=&quot;20307&quot; value=&quot;272&quot;/&gt;&lt;/object&gt;&lt;object type=&quot;3&quot; unique_id=&quot;10013&quot;&gt;&lt;property id=&quot;20148&quot; value=&quot;5&quot;/&gt;&lt;property id=&quot;20300&quot; value=&quot;Slide 11 - &amp;quot;Summary introduction&amp;quot;&quot;/&gt;&lt;property id=&quot;20307&quot; value=&quot;264&quot;/&gt;&lt;/object&gt;&lt;object type=&quot;3&quot; unique_id=&quot;10014&quot;&gt;&lt;property id=&quot;20148&quot; value=&quot;5&quot;/&gt;&lt;property id=&quot;20300&quot; value=&quot;Slide 12 - &amp;quot;Small copy of introduction graphic in top right hand corner &amp;quot;&quot;/&gt;&lt;property id=&quot;20307&quot; value=&quot;265&quot;/&gt;&lt;/object&gt;&lt;object type=&quot;3&quot; unique_id=&quot;10015&quot;&gt;&lt;property id=&quot;20148&quot; value=&quot;5&quot;/&gt;&lt;property id=&quot;20300&quot; value=&quot;Slide 13 - &amp;quot;Second section etc&amp;quot;&quot;/&gt;&lt;property id=&quot;20307&quot; value=&quot;266&quot;/&gt;&lt;/object&gt;&lt;object type=&quot;3&quot; unique_id=&quot;10016&quot;&gt;&lt;property id=&quot;20148&quot; value=&quot;5&quot;/&gt;&lt;property id=&quot;20300&quot; value=&quot;Slide 14 - &amp;quot;Brief explanation of client’s situation&amp;quot;&quot;/&gt;&lt;property id=&quot;20307&quot; value=&quot;267&quot;/&gt;&lt;/object&gt;&lt;object type=&quot;3&quot; unique_id=&quot;10017&quot;&gt;&lt;property id=&quot;20148&quot; value=&quot;5&quot;/&gt;&lt;property id=&quot;20300&quot; value=&quot;Slide 17 - &amp;quot;If you decide to use one biography per slide, you may wish expand on relevant experience and qualifications, furth&quot;/&gt;&lt;property id=&quot;20307&quot; value=&quot;268&quot;/&gt;&lt;/object&gt;&lt;object type=&quot;3&quot; unique_id=&quot;10018&quot;&gt;&lt;property id=&quot;20148&quot; value=&quot;5&quot;/&gt;&lt;property id=&quot;20300&quot; value=&quot;Slide 18&quot;/&gt;&lt;property id=&quot;20307&quot; value=&quot;269&quot;/&gt;&lt;/object&gt;&lt;object type=&quot;3&quot; unique_id=&quot;10019&quot;&gt;&lt;property id=&quot;20148&quot; value=&quot;5&quot;/&gt;&lt;property id=&quot;20300&quot; value=&quot;Slide 19&quot;/&gt;&lt;property id=&quot;20307&quot; value=&quot;270&quot;/&gt;&lt;/object&gt;&lt;object type=&quot;3&quot; unique_id=&quot;10020&quot;&gt;&lt;property id=&quot;20148&quot; value=&quot;5&quot;/&gt;&lt;property id=&quot;20300&quot; value=&quot;Slide 15 - &amp;quot;Qualifications will use the standard format detailed below, the number of quals per slide can be varied depending &quot;/&gt;&lt;property id=&quot;20307&quot; value=&quot;273&quot;/&gt;&lt;/object&gt;&lt;object type=&quot;3&quot; unique_id=&quot;10021&quot;&gt;&lt;property id=&quot;20148&quot; value=&quot;5&quot;/&gt;&lt;property id=&quot;20300&quot; value=&quot;Slide 16 - &amp;quot;The example below shows how the slide will look if two quals are combined on a slide, the text size has been reduc&quot;/&gt;&lt;property id=&quot;20307&quot; value=&quot;274&quot;/&gt;&lt;/object&gt;&lt;object type=&quot;3&quot; unique_id=&quot;10062&quot;&gt;&lt;property id=&quot;20148&quot; value=&quot;5&quot;/&gt;&lt;property id=&quot;20300&quot; value=&quot;Slide 2&quot;/&gt;&lt;property id=&quot;20307&quot; value=&quot;276&quot;/&gt;&lt;/object&gt;&lt;object type=&quot;3&quot; unique_id=&quot;10063&quot;&gt;&lt;property id=&quot;20148&quot; value=&quot;5&quot;/&gt;&lt;property id=&quot;20300&quot; value=&quot;Slide 20&quot;/&gt;&lt;property id=&quot;20307&quot; value=&quot;275&quot;/&gt;&lt;/object&gt;&lt;/object&gt;&lt;/object&gt;&lt;/database&gt;"/>
  <p:tag name="THINKCELLUNDODONOTDELETE" val="20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PtKOPU6EeOWltNt1p5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Lefixea_Slidemaster_color">
      <a:dk1>
        <a:srgbClr val="033273"/>
      </a:dk1>
      <a:lt1>
        <a:srgbClr val="FFFFFF"/>
      </a:lt1>
      <a:dk2>
        <a:srgbClr val="033273"/>
      </a:dk2>
      <a:lt2>
        <a:srgbClr val="808080"/>
      </a:lt2>
      <a:accent1>
        <a:srgbClr val="033273"/>
      </a:accent1>
      <a:accent2>
        <a:srgbClr val="C0CCDC"/>
      </a:accent2>
      <a:accent3>
        <a:srgbClr val="BFBFBF"/>
      </a:accent3>
      <a:accent4>
        <a:srgbClr val="8199B9"/>
      </a:accent4>
      <a:accent5>
        <a:srgbClr val="FFE280"/>
      </a:accent5>
      <a:accent6>
        <a:srgbClr val="FFC500"/>
      </a:accent6>
      <a:hlink>
        <a:srgbClr val="8199B9"/>
      </a:hlink>
      <a:folHlink>
        <a:srgbClr val="4165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969696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noFill/>
        </a:ln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3E7898"/>
    </a:custClr>
    <a:custClr name="Custom Color 2">
      <a:srgbClr val="000000"/>
    </a:custClr>
    <a:custClr name="Custom Color 3">
      <a:srgbClr val="4D4D4D"/>
    </a:custClr>
    <a:custClr name="Custom Color 4">
      <a:srgbClr val="969696"/>
    </a:custClr>
    <a:custClr name="Custom Color 5">
      <a:srgbClr val="EAEAEA"/>
    </a:custClr>
    <a:custClr name="Custom Color 6">
      <a:srgbClr val="6EB66E"/>
    </a:custClr>
    <a:custClr name="Custom Color 7">
      <a:srgbClr val="CC0000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02B644A1E68DC42A590C3945CED365A" ma:contentTypeVersion="19" ma:contentTypeDescription="新しいドキュメントを作成します。" ma:contentTypeScope="" ma:versionID="9335ea08eef914301fcd918ffb41c745">
  <xsd:schema xmlns:xsd="http://www.w3.org/2001/XMLSchema" xmlns:xs="http://www.w3.org/2001/XMLSchema" xmlns:p="http://schemas.microsoft.com/office/2006/metadata/properties" xmlns:ns2="2e755cc5-ae56-4e79-a283-74a644d3c476" xmlns:ns3="3be659c1-1e65-4eae-85b0-0af5fc8e561f" targetNamespace="http://schemas.microsoft.com/office/2006/metadata/properties" ma:root="true" ma:fieldsID="b27c1f888605b705081e3bb8972b949e" ns2:_="" ns3:_="">
    <xsd:import namespace="2e755cc5-ae56-4e79-a283-74a644d3c476"/>
    <xsd:import namespace="3be659c1-1e65-4eae-85b0-0af5fc8e56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755cc5-ae56-4e79-a283-74a644d3c4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画像タグ" ma:readOnly="false" ma:fieldId="{5cf76f15-5ced-4ddc-b409-7134ff3c332f}" ma:taxonomyMulti="true" ma:sspId="1665e6cc-e37a-4638-91fc-33584722f5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e659c1-1e65-4eae-85b0-0af5fc8e561f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59de0a3f-33c1-48e3-a8ef-72e01b701e1a}" ma:internalName="TaxCatchAll" ma:showField="CatchAllData" ma:web="3be659c1-1e65-4eae-85b0-0af5fc8e56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e755cc5-ae56-4e79-a283-74a644d3c476">
      <Terms xmlns="http://schemas.microsoft.com/office/infopath/2007/PartnerControls"/>
    </lcf76f155ced4ddcb4097134ff3c332f>
    <TaxCatchAll xmlns="3be659c1-1e65-4eae-85b0-0af5fc8e561f" xsi:nil="true"/>
  </documentManagement>
</p:properties>
</file>

<file path=customXml/itemProps1.xml><?xml version="1.0" encoding="utf-8"?>
<ds:datastoreItem xmlns:ds="http://schemas.openxmlformats.org/officeDocument/2006/customXml" ds:itemID="{7031A540-C0F5-4FDA-8B59-2535245DB4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755cc5-ae56-4e79-a283-74a644d3c476"/>
    <ds:schemaRef ds:uri="3be659c1-1e65-4eae-85b0-0af5fc8e56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7CCE53-F78D-4413-93A3-A63F00E88D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6C0B64-CC77-4295-A054-9AC2C677586E}">
  <ds:schemaRefs>
    <ds:schemaRef ds:uri="http://www.w3.org/XML/1998/namespace"/>
    <ds:schemaRef ds:uri="http://purl.org/dc/dcmitype/"/>
    <ds:schemaRef ds:uri="http://schemas.microsoft.com/office/2006/documentManagement/types"/>
    <ds:schemaRef ds:uri="3be659c1-1e65-4eae-85b0-0af5fc8e561f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e755cc5-ae56-4e79-a283-74a644d3c476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</TotalTime>
  <Words>277</Words>
  <Application>Microsoft Office PowerPoint</Application>
  <PresentationFormat>A4 Paper (210x297 mm)</PresentationFormat>
  <Paragraphs>95</Paragraphs>
  <Slides>6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Blank</vt:lpstr>
      <vt:lpstr>Positioning photos and report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rthur D. Lit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Intern01</dc:creator>
  <cp:lastModifiedBy>Matsubara Tomoaki</cp:lastModifiedBy>
  <cp:revision>71</cp:revision>
  <dcterms:created xsi:type="dcterms:W3CDTF">2014-10-07T10:58:16Z</dcterms:created>
  <dcterms:modified xsi:type="dcterms:W3CDTF">2026-04-09T00:4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0728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MediaServiceImageTags">
    <vt:lpwstr/>
  </property>
  <property fmtid="{D5CDD505-2E9C-101B-9397-08002B2CF9AE}" pid="8" name="ContentTypeId">
    <vt:lpwstr>0x010100302B644A1E68DC42A590C3945CED365A</vt:lpwstr>
  </property>
</Properties>
</file>